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</p:sldMasterIdLst>
  <p:notesMasterIdLst>
    <p:notesMasterId r:id="rId6"/>
  </p:notesMasterIdLst>
  <p:handoutMasterIdLst>
    <p:handoutMasterId r:id="rId7"/>
  </p:handoutMasterIdLst>
  <p:sldIdLst>
    <p:sldId id="350" r:id="rId2"/>
    <p:sldId id="360" r:id="rId3"/>
    <p:sldId id="361" r:id="rId4"/>
    <p:sldId id="363" r:id="rId5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8F456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02" autoAdjust="0"/>
  </p:normalViewPr>
  <p:slideViewPr>
    <p:cSldViewPr snapToGrid="0">
      <p:cViewPr varScale="1">
        <p:scale>
          <a:sx n="110" d="100"/>
          <a:sy n="110" d="100"/>
        </p:scale>
        <p:origin x="630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23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7.02.2022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7.02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667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91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0CB0C39-08AA-4426-8A4E-7E12C8490019}"/>
              </a:ext>
            </a:extLst>
          </p:cNvPr>
          <p:cNvSpPr/>
          <p:nvPr userDrawn="1"/>
        </p:nvSpPr>
        <p:spPr>
          <a:xfrm>
            <a:off x="0" y="6608189"/>
            <a:ext cx="443865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5F73C73-03C7-4379-819D-B4063D83DBA8}"/>
              </a:ext>
            </a:extLst>
          </p:cNvPr>
          <p:cNvSpPr/>
          <p:nvPr userDrawn="1"/>
        </p:nvSpPr>
        <p:spPr>
          <a:xfrm>
            <a:off x="7753350" y="6608189"/>
            <a:ext cx="443865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68772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r>
              <a:rPr lang="de-DE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de-DE" sz="10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/>
              <a:t>‹#›</a:t>
            </a:fld>
            <a:r>
              <a:rPr lang="de-DE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e-DE" dirty="0"/>
              <a:t>Department | Date | </a:t>
            </a:r>
            <a:r>
              <a:rPr lang="de-DE" dirty="0" err="1"/>
              <a:t>Author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012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EA45360-1214-4090-87C3-72D973A158F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E3EEF82-D802-41C9-8F94-88CCDF515F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/>
              <a:t>EG-2-C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F6A489-076A-47FB-AB3E-9E7F47D0ED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4453532"/>
            <a:ext cx="12192000" cy="760959"/>
          </a:xfrm>
        </p:spPr>
        <p:txBody>
          <a:bodyPr/>
          <a:lstStyle/>
          <a:p>
            <a:r>
              <a:rPr lang="en-GB"/>
              <a:t>PHD Notes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523BBEF-6686-4B99-A4CF-BD2F984B1E3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Ferdinand Wöhr</a:t>
            </a:r>
          </a:p>
        </p:txBody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85AC03BB-7F09-4702-92DD-77F23E7705DA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20214A37-4CE1-460B-AC48-0F75AB3321DE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</p:spTree>
    <p:extLst>
      <p:ext uri="{BB962C8B-B14F-4D97-AF65-F5344CB8AC3E}">
        <p14:creationId xmlns:p14="http://schemas.microsoft.com/office/powerpoint/2010/main" val="1159799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4EB66B-648A-433C-B496-BD31B957F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…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EA5858C-324A-4EFC-9A07-F2AAF1DEC6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770" y="1238072"/>
            <a:ext cx="4779739" cy="236780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811B328-99B9-4F9C-B969-CFD912219D6B}"/>
              </a:ext>
            </a:extLst>
          </p:cNvPr>
          <p:cNvCxnSpPr/>
          <p:nvPr/>
        </p:nvCxnSpPr>
        <p:spPr>
          <a:xfrm>
            <a:off x="409301" y="1390170"/>
            <a:ext cx="1184366" cy="0"/>
          </a:xfrm>
          <a:prstGeom prst="line">
            <a:avLst/>
          </a:prstGeom>
          <a:ln w="19050">
            <a:solidFill>
              <a:srgbClr val="FF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99428E9-DD3D-4F20-B919-ACF140F18E33}"/>
              </a:ext>
            </a:extLst>
          </p:cNvPr>
          <p:cNvSpPr txBox="1"/>
          <p:nvPr/>
        </p:nvSpPr>
        <p:spPr>
          <a:xfrm>
            <a:off x="470263" y="1113242"/>
            <a:ext cx="1221740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de-DE" sz="1050" kern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k dependency</a:t>
            </a:r>
            <a:endParaRPr lang="de-DE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8B12EEB-9B03-425B-82BE-A2F91D542A80}"/>
              </a:ext>
            </a:extLst>
          </p:cNvPr>
          <p:cNvCxnSpPr/>
          <p:nvPr/>
        </p:nvCxnSpPr>
        <p:spPr>
          <a:xfrm>
            <a:off x="1842591" y="1416297"/>
            <a:ext cx="1184366" cy="0"/>
          </a:xfrm>
          <a:prstGeom prst="line">
            <a:avLst/>
          </a:prstGeom>
          <a:ln w="19050">
            <a:solidFill>
              <a:srgbClr val="FF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8EB519C-586D-4C13-9343-0BEAC2D08525}"/>
              </a:ext>
            </a:extLst>
          </p:cNvPr>
          <p:cNvSpPr txBox="1"/>
          <p:nvPr/>
        </p:nvSpPr>
        <p:spPr>
          <a:xfrm>
            <a:off x="1816463" y="1113242"/>
            <a:ext cx="1221740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de-DE" sz="1050" kern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k execution</a:t>
            </a:r>
            <a:endParaRPr lang="de-DE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4D1861-34AF-4EA8-8352-4972246DC296}"/>
              </a:ext>
            </a:extLst>
          </p:cNvPr>
          <p:cNvSpPr txBox="1"/>
          <p:nvPr/>
        </p:nvSpPr>
        <p:spPr>
          <a:xfrm>
            <a:off x="4885509" y="438684"/>
            <a:ext cx="6930756" cy="9079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is there no direct mapping (i.e. independent tasks may also be performed sequentially)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/>
              <a:t>How does task dependency and </a:t>
            </a:r>
            <a:r>
              <a:rPr lang="de-DE" i="1"/>
              <a:t>task execution </a:t>
            </a:r>
            <a:r>
              <a:rPr lang="de-DE"/>
              <a:t>relate to an ADG?</a:t>
            </a: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87FA21-D516-417B-9A15-593112A6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7404" y="1648955"/>
            <a:ext cx="2834367" cy="168357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3C5BE84-4F8F-4DC2-9316-187967036B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301" y="3605881"/>
            <a:ext cx="2477948" cy="2668992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D73D9A2-35F3-46F9-8A14-2EA35449D99D}"/>
              </a:ext>
            </a:extLst>
          </p:cNvPr>
          <p:cNvCxnSpPr>
            <a:cxnSpLocks/>
          </p:cNvCxnSpPr>
          <p:nvPr/>
        </p:nvCxnSpPr>
        <p:spPr>
          <a:xfrm flipV="1">
            <a:off x="3609300" y="4504394"/>
            <a:ext cx="432708" cy="472440"/>
          </a:xfrm>
          <a:prstGeom prst="line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0CB369-C92D-4A87-BD81-FAD10D3DAF90}"/>
              </a:ext>
            </a:extLst>
          </p:cNvPr>
          <p:cNvCxnSpPr>
            <a:cxnSpLocks/>
          </p:cNvCxnSpPr>
          <p:nvPr/>
        </p:nvCxnSpPr>
        <p:spPr>
          <a:xfrm>
            <a:off x="4612693" y="4260554"/>
            <a:ext cx="465909" cy="760742"/>
          </a:xfrm>
          <a:prstGeom prst="line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60C5B80-0BC0-4FB7-ADB3-CBBF267CA656}"/>
              </a:ext>
            </a:extLst>
          </p:cNvPr>
          <p:cNvSpPr/>
          <p:nvPr/>
        </p:nvSpPr>
        <p:spPr>
          <a:xfrm>
            <a:off x="3438123" y="4990816"/>
            <a:ext cx="465909" cy="182880"/>
          </a:xfrm>
          <a:prstGeom prst="rect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DAB2518-88CD-4181-BAA1-B015C150C579}"/>
              </a:ext>
            </a:extLst>
          </p:cNvPr>
          <p:cNvSpPr/>
          <p:nvPr/>
        </p:nvSpPr>
        <p:spPr>
          <a:xfrm>
            <a:off x="4845648" y="5021296"/>
            <a:ext cx="465909" cy="182880"/>
          </a:xfrm>
          <a:prstGeom prst="rect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B1CC398-58E7-4A3B-A598-B0DB52DEF458}"/>
              </a:ext>
            </a:extLst>
          </p:cNvPr>
          <p:cNvSpPr txBox="1"/>
          <p:nvPr/>
        </p:nvSpPr>
        <p:spPr>
          <a:xfrm>
            <a:off x="3657477" y="5861411"/>
            <a:ext cx="46590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</a:t>
            </a: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7E832F8-A8AF-4D76-BF17-2E0F2D26D68B}"/>
              </a:ext>
            </a:extLst>
          </p:cNvPr>
          <p:cNvCxnSpPr>
            <a:cxnSpLocks/>
          </p:cNvCxnSpPr>
          <p:nvPr/>
        </p:nvCxnSpPr>
        <p:spPr>
          <a:xfrm flipV="1">
            <a:off x="4042008" y="4031953"/>
            <a:ext cx="432708" cy="472440"/>
          </a:xfrm>
          <a:prstGeom prst="line">
            <a:avLst/>
          </a:prstGeom>
          <a:ln w="19050">
            <a:solidFill>
              <a:srgbClr val="FF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ight Brace 25">
            <a:extLst>
              <a:ext uri="{FF2B5EF4-FFF2-40B4-BE49-F238E27FC236}">
                <a16:creationId xmlns:a16="http://schemas.microsoft.com/office/drawing/2014/main" id="{D2A0F22A-2D94-43C1-9FA6-69DA4810D72C}"/>
              </a:ext>
            </a:extLst>
          </p:cNvPr>
          <p:cNvSpPr/>
          <p:nvPr/>
        </p:nvSpPr>
        <p:spPr>
          <a:xfrm rot="5400000">
            <a:off x="3984615" y="4640158"/>
            <a:ext cx="177930" cy="917114"/>
          </a:xfrm>
          <a:prstGeom prst="rightBrace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46B6B9E-88FE-4643-AB1C-5ABDA4FA9C1A}"/>
              </a:ext>
            </a:extLst>
          </p:cNvPr>
          <p:cNvSpPr txBox="1"/>
          <p:nvPr/>
        </p:nvSpPr>
        <p:spPr>
          <a:xfrm>
            <a:off x="3775315" y="5288274"/>
            <a:ext cx="69450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1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x_1</a:t>
            </a:r>
            <a:endParaRPr lang="de-DE" sz="11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86F5872-F5F2-4427-9792-8C53DA5059A0}"/>
              </a:ext>
            </a:extLst>
          </p:cNvPr>
          <p:cNvSpPr/>
          <p:nvPr/>
        </p:nvSpPr>
        <p:spPr>
          <a:xfrm rot="10800000">
            <a:off x="3321647" y="4504394"/>
            <a:ext cx="163946" cy="465909"/>
          </a:xfrm>
          <a:prstGeom prst="rightBrace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E71C7EF-98FF-4439-912E-BE22B9EE0DD4}"/>
              </a:ext>
            </a:extLst>
          </p:cNvPr>
          <p:cNvSpPr txBox="1"/>
          <p:nvPr/>
        </p:nvSpPr>
        <p:spPr>
          <a:xfrm rot="16200000">
            <a:off x="2775587" y="4419755"/>
            <a:ext cx="69450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1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x_2</a:t>
            </a:r>
            <a:endParaRPr lang="de-DE" sz="11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36A6A398-69FC-4581-930B-A9E8250C3BE4}"/>
              </a:ext>
            </a:extLst>
          </p:cNvPr>
          <p:cNvSpPr/>
          <p:nvPr/>
        </p:nvSpPr>
        <p:spPr>
          <a:xfrm rot="5400000">
            <a:off x="4685248" y="4794326"/>
            <a:ext cx="177930" cy="608778"/>
          </a:xfrm>
          <a:prstGeom prst="rightBrace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542786B-CDAC-4FFC-914C-A8104CB1081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6555"/>
          <a:stretch/>
        </p:blipFill>
        <p:spPr>
          <a:xfrm>
            <a:off x="5686896" y="3588718"/>
            <a:ext cx="4543400" cy="2865155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779BD853-B3BA-4FA0-B0D6-3A3FFF1D01A1}"/>
              </a:ext>
            </a:extLst>
          </p:cNvPr>
          <p:cNvSpPr/>
          <p:nvPr/>
        </p:nvSpPr>
        <p:spPr>
          <a:xfrm>
            <a:off x="8797751" y="5543632"/>
            <a:ext cx="584605" cy="350751"/>
          </a:xfrm>
          <a:prstGeom prst="ellips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sz="1200">
                <a:solidFill>
                  <a:schemeClr val="tx1"/>
                </a:solidFill>
              </a:rPr>
              <a:t>m2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03AC979-759D-4025-84DF-DA4ADB04D928}"/>
              </a:ext>
            </a:extLst>
          </p:cNvPr>
          <p:cNvSpPr/>
          <p:nvPr/>
        </p:nvSpPr>
        <p:spPr>
          <a:xfrm>
            <a:off x="8213146" y="5510660"/>
            <a:ext cx="584605" cy="350751"/>
          </a:xfrm>
          <a:prstGeom prst="ellips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sz="1200">
                <a:solidFill>
                  <a:schemeClr val="tx1"/>
                </a:solidFill>
              </a:rPr>
              <a:t>m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189E232-3A98-4C0B-A0ED-503F0A877CEC}"/>
              </a:ext>
            </a:extLst>
          </p:cNvPr>
          <p:cNvSpPr/>
          <p:nvPr/>
        </p:nvSpPr>
        <p:spPr>
          <a:xfrm>
            <a:off x="9458615" y="5511226"/>
            <a:ext cx="584605" cy="350751"/>
          </a:xfrm>
          <a:prstGeom prst="ellips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sz="1200">
                <a:solidFill>
                  <a:schemeClr val="tx1"/>
                </a:solidFill>
              </a:rPr>
              <a:t>m3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C44EC494-4808-487B-9CE6-8A1FD19FA284}"/>
              </a:ext>
            </a:extLst>
          </p:cNvPr>
          <p:cNvSpPr/>
          <p:nvPr/>
        </p:nvSpPr>
        <p:spPr>
          <a:xfrm>
            <a:off x="5923354" y="3520087"/>
            <a:ext cx="4329163" cy="2621348"/>
          </a:xfrm>
          <a:custGeom>
            <a:avLst/>
            <a:gdLst>
              <a:gd name="connsiteX0" fmla="*/ 2096696 w 4329163"/>
              <a:gd name="connsiteY0" fmla="*/ 524863 h 2621348"/>
              <a:gd name="connsiteX1" fmla="*/ 1493446 w 4329163"/>
              <a:gd name="connsiteY1" fmla="*/ 1375763 h 2621348"/>
              <a:gd name="connsiteX2" fmla="*/ 166296 w 4329163"/>
              <a:gd name="connsiteY2" fmla="*/ 1515463 h 2621348"/>
              <a:gd name="connsiteX3" fmla="*/ 153596 w 4329163"/>
              <a:gd name="connsiteY3" fmla="*/ 2188563 h 2621348"/>
              <a:gd name="connsiteX4" fmla="*/ 1385496 w 4329163"/>
              <a:gd name="connsiteY4" fmla="*/ 2106013 h 2621348"/>
              <a:gd name="connsiteX5" fmla="*/ 2376096 w 4329163"/>
              <a:gd name="connsiteY5" fmla="*/ 2563213 h 2621348"/>
              <a:gd name="connsiteX6" fmla="*/ 4204896 w 4329163"/>
              <a:gd name="connsiteY6" fmla="*/ 2423513 h 2621348"/>
              <a:gd name="connsiteX7" fmla="*/ 4014396 w 4329163"/>
              <a:gd name="connsiteY7" fmla="*/ 842363 h 2621348"/>
              <a:gd name="connsiteX8" fmla="*/ 2795196 w 4329163"/>
              <a:gd name="connsiteY8" fmla="*/ 4163 h 2621348"/>
              <a:gd name="connsiteX9" fmla="*/ 2096696 w 4329163"/>
              <a:gd name="connsiteY9" fmla="*/ 524863 h 2621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29163" h="2621348">
                <a:moveTo>
                  <a:pt x="2096696" y="524863"/>
                </a:moveTo>
                <a:cubicBezTo>
                  <a:pt x="1879738" y="753463"/>
                  <a:pt x="1815179" y="1210663"/>
                  <a:pt x="1493446" y="1375763"/>
                </a:cubicBezTo>
                <a:cubicBezTo>
                  <a:pt x="1171713" y="1540863"/>
                  <a:pt x="389604" y="1379996"/>
                  <a:pt x="166296" y="1515463"/>
                </a:cubicBezTo>
                <a:cubicBezTo>
                  <a:pt x="-57012" y="1650930"/>
                  <a:pt x="-49604" y="2090138"/>
                  <a:pt x="153596" y="2188563"/>
                </a:cubicBezTo>
                <a:cubicBezTo>
                  <a:pt x="356796" y="2286988"/>
                  <a:pt x="1015079" y="2043571"/>
                  <a:pt x="1385496" y="2106013"/>
                </a:cubicBezTo>
                <a:cubicBezTo>
                  <a:pt x="1755913" y="2168455"/>
                  <a:pt x="1906196" y="2510296"/>
                  <a:pt x="2376096" y="2563213"/>
                </a:cubicBezTo>
                <a:cubicBezTo>
                  <a:pt x="2845996" y="2616130"/>
                  <a:pt x="3931846" y="2710321"/>
                  <a:pt x="4204896" y="2423513"/>
                </a:cubicBezTo>
                <a:cubicBezTo>
                  <a:pt x="4477946" y="2136705"/>
                  <a:pt x="4249346" y="1245588"/>
                  <a:pt x="4014396" y="842363"/>
                </a:cubicBezTo>
                <a:cubicBezTo>
                  <a:pt x="3779446" y="439138"/>
                  <a:pt x="3114813" y="49671"/>
                  <a:pt x="2795196" y="4163"/>
                </a:cubicBezTo>
                <a:cubicBezTo>
                  <a:pt x="2475579" y="-41345"/>
                  <a:pt x="2313654" y="296263"/>
                  <a:pt x="2096696" y="524863"/>
                </a:cubicBezTo>
                <a:close/>
              </a:path>
            </a:pathLst>
          </a:custGeom>
          <a:solidFill>
            <a:srgbClr val="FCE37A">
              <a:alpha val="40000"/>
            </a:srgb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F64F9A7-203A-4FA0-95C8-FED4DA274849}"/>
              </a:ext>
            </a:extLst>
          </p:cNvPr>
          <p:cNvCxnSpPr>
            <a:cxnSpLocks/>
          </p:cNvCxnSpPr>
          <p:nvPr/>
        </p:nvCxnSpPr>
        <p:spPr>
          <a:xfrm flipH="1" flipV="1">
            <a:off x="9090053" y="5255035"/>
            <a:ext cx="458260" cy="33000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A032E4D5-4491-4FD1-AA31-5429C5C40DE7}"/>
              </a:ext>
            </a:extLst>
          </p:cNvPr>
          <p:cNvCxnSpPr>
            <a:cxnSpLocks/>
          </p:cNvCxnSpPr>
          <p:nvPr/>
        </p:nvCxnSpPr>
        <p:spPr>
          <a:xfrm flipH="1" flipV="1">
            <a:off x="8872034" y="5323667"/>
            <a:ext cx="120557" cy="29434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05C6F96F-4D02-41B4-8212-E43FB9943C2B}"/>
              </a:ext>
            </a:extLst>
          </p:cNvPr>
          <p:cNvCxnSpPr>
            <a:cxnSpLocks/>
          </p:cNvCxnSpPr>
          <p:nvPr/>
        </p:nvCxnSpPr>
        <p:spPr>
          <a:xfrm flipV="1">
            <a:off x="8549881" y="5372912"/>
            <a:ext cx="135077" cy="18515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0A5C6E32-DC3E-4ADC-9064-78C28F08BD56}"/>
              </a:ext>
            </a:extLst>
          </p:cNvPr>
          <p:cNvSpPr/>
          <p:nvPr/>
        </p:nvSpPr>
        <p:spPr>
          <a:xfrm>
            <a:off x="6492779" y="5762495"/>
            <a:ext cx="584605" cy="350751"/>
          </a:xfrm>
          <a:prstGeom prst="ellips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sz="1200">
                <a:solidFill>
                  <a:schemeClr val="tx1"/>
                </a:solidFill>
              </a:rPr>
              <a:t>m2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B48B4E9-B5FC-473C-9708-5CF950A423C3}"/>
              </a:ext>
            </a:extLst>
          </p:cNvPr>
          <p:cNvSpPr/>
          <p:nvPr/>
        </p:nvSpPr>
        <p:spPr>
          <a:xfrm>
            <a:off x="5908174" y="5729523"/>
            <a:ext cx="584605" cy="350751"/>
          </a:xfrm>
          <a:prstGeom prst="ellips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sz="1200">
                <a:solidFill>
                  <a:schemeClr val="tx1"/>
                </a:solidFill>
              </a:rPr>
              <a:t>m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5A664D9-D350-4659-8978-6F3C046F29FB}"/>
              </a:ext>
            </a:extLst>
          </p:cNvPr>
          <p:cNvSpPr/>
          <p:nvPr/>
        </p:nvSpPr>
        <p:spPr>
          <a:xfrm>
            <a:off x="7153643" y="5730089"/>
            <a:ext cx="584605" cy="350751"/>
          </a:xfrm>
          <a:prstGeom prst="ellips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sz="1200">
                <a:solidFill>
                  <a:schemeClr val="tx1"/>
                </a:solidFill>
              </a:rPr>
              <a:t>m3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9307EA4E-C9A3-4421-9913-546B3C7A962E}"/>
              </a:ext>
            </a:extLst>
          </p:cNvPr>
          <p:cNvCxnSpPr>
            <a:cxnSpLocks/>
          </p:cNvCxnSpPr>
          <p:nvPr/>
        </p:nvCxnSpPr>
        <p:spPr>
          <a:xfrm flipH="1" flipV="1">
            <a:off x="6785081" y="5473898"/>
            <a:ext cx="458260" cy="33000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BFCAC5EA-43BB-40E0-96AC-1EB1DFDA6E3F}"/>
              </a:ext>
            </a:extLst>
          </p:cNvPr>
          <p:cNvCxnSpPr>
            <a:cxnSpLocks/>
          </p:cNvCxnSpPr>
          <p:nvPr/>
        </p:nvCxnSpPr>
        <p:spPr>
          <a:xfrm flipH="1" flipV="1">
            <a:off x="6567062" y="5542530"/>
            <a:ext cx="120557" cy="29434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9C113CC4-4CC4-4873-BE09-BF59FF2CB756}"/>
              </a:ext>
            </a:extLst>
          </p:cNvPr>
          <p:cNvCxnSpPr>
            <a:cxnSpLocks/>
          </p:cNvCxnSpPr>
          <p:nvPr/>
        </p:nvCxnSpPr>
        <p:spPr>
          <a:xfrm flipV="1">
            <a:off x="6244909" y="5591775"/>
            <a:ext cx="135077" cy="18515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C30EB443-AB8F-4123-9940-B857EABBD79C}"/>
              </a:ext>
            </a:extLst>
          </p:cNvPr>
          <p:cNvSpPr/>
          <p:nvPr/>
        </p:nvSpPr>
        <p:spPr>
          <a:xfrm>
            <a:off x="5640187" y="3669050"/>
            <a:ext cx="3717561" cy="2641368"/>
          </a:xfrm>
          <a:custGeom>
            <a:avLst/>
            <a:gdLst>
              <a:gd name="connsiteX0" fmla="*/ 1835033 w 3717561"/>
              <a:gd name="connsiteY0" fmla="*/ 354310 h 2641368"/>
              <a:gd name="connsiteX1" fmla="*/ 2223653 w 3717561"/>
              <a:gd name="connsiteY1" fmla="*/ 1162030 h 2641368"/>
              <a:gd name="connsiteX2" fmla="*/ 3244733 w 3717561"/>
              <a:gd name="connsiteY2" fmla="*/ 1070590 h 2641368"/>
              <a:gd name="connsiteX3" fmla="*/ 3701933 w 3717561"/>
              <a:gd name="connsiteY3" fmla="*/ 1459210 h 2641368"/>
              <a:gd name="connsiteX4" fmla="*/ 2718953 w 3717561"/>
              <a:gd name="connsiteY4" fmla="*/ 1786870 h 2641368"/>
              <a:gd name="connsiteX5" fmla="*/ 2147453 w 3717561"/>
              <a:gd name="connsiteY5" fmla="*/ 2305030 h 2641368"/>
              <a:gd name="connsiteX6" fmla="*/ 1042553 w 3717561"/>
              <a:gd name="connsiteY6" fmla="*/ 2548870 h 2641368"/>
              <a:gd name="connsiteX7" fmla="*/ 166253 w 3717561"/>
              <a:gd name="connsiteY7" fmla="*/ 2480290 h 2641368"/>
              <a:gd name="connsiteX8" fmla="*/ 105293 w 3717561"/>
              <a:gd name="connsiteY8" fmla="*/ 765790 h 2641368"/>
              <a:gd name="connsiteX9" fmla="*/ 1301633 w 3717561"/>
              <a:gd name="connsiteY9" fmla="*/ 3790 h 2641368"/>
              <a:gd name="connsiteX10" fmla="*/ 1888373 w 3717561"/>
              <a:gd name="connsiteY10" fmla="*/ 476230 h 2641368"/>
              <a:gd name="connsiteX11" fmla="*/ 1842653 w 3717561"/>
              <a:gd name="connsiteY11" fmla="*/ 567670 h 2641368"/>
              <a:gd name="connsiteX12" fmla="*/ 1949333 w 3717561"/>
              <a:gd name="connsiteY12" fmla="*/ 704830 h 2641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17561" h="2641368">
                <a:moveTo>
                  <a:pt x="1835033" y="354310"/>
                </a:moveTo>
                <a:cubicBezTo>
                  <a:pt x="1911868" y="698480"/>
                  <a:pt x="1988703" y="1042650"/>
                  <a:pt x="2223653" y="1162030"/>
                </a:cubicBezTo>
                <a:cubicBezTo>
                  <a:pt x="2458603" y="1281410"/>
                  <a:pt x="2998353" y="1021060"/>
                  <a:pt x="3244733" y="1070590"/>
                </a:cubicBezTo>
                <a:cubicBezTo>
                  <a:pt x="3491113" y="1120120"/>
                  <a:pt x="3789563" y="1339830"/>
                  <a:pt x="3701933" y="1459210"/>
                </a:cubicBezTo>
                <a:cubicBezTo>
                  <a:pt x="3614303" y="1578590"/>
                  <a:pt x="2978033" y="1645900"/>
                  <a:pt x="2718953" y="1786870"/>
                </a:cubicBezTo>
                <a:cubicBezTo>
                  <a:pt x="2459873" y="1927840"/>
                  <a:pt x="2426853" y="2178030"/>
                  <a:pt x="2147453" y="2305030"/>
                </a:cubicBezTo>
                <a:cubicBezTo>
                  <a:pt x="1868053" y="2432030"/>
                  <a:pt x="1372753" y="2519660"/>
                  <a:pt x="1042553" y="2548870"/>
                </a:cubicBezTo>
                <a:cubicBezTo>
                  <a:pt x="712353" y="2578080"/>
                  <a:pt x="322463" y="2777470"/>
                  <a:pt x="166253" y="2480290"/>
                </a:cubicBezTo>
                <a:cubicBezTo>
                  <a:pt x="10043" y="2183110"/>
                  <a:pt x="-83937" y="1178540"/>
                  <a:pt x="105293" y="765790"/>
                </a:cubicBezTo>
                <a:cubicBezTo>
                  <a:pt x="294523" y="353040"/>
                  <a:pt x="1004453" y="52050"/>
                  <a:pt x="1301633" y="3790"/>
                </a:cubicBezTo>
                <a:cubicBezTo>
                  <a:pt x="1598813" y="-44470"/>
                  <a:pt x="1798203" y="382250"/>
                  <a:pt x="1888373" y="476230"/>
                </a:cubicBezTo>
                <a:cubicBezTo>
                  <a:pt x="1978543" y="570210"/>
                  <a:pt x="1832493" y="529570"/>
                  <a:pt x="1842653" y="567670"/>
                </a:cubicBezTo>
                <a:cubicBezTo>
                  <a:pt x="1852813" y="605770"/>
                  <a:pt x="1921393" y="650220"/>
                  <a:pt x="1949333" y="704830"/>
                </a:cubicBezTo>
              </a:path>
            </a:pathLst>
          </a:custGeom>
          <a:solidFill>
            <a:srgbClr val="CD738C">
              <a:alpha val="40000"/>
            </a:srgb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24E3678-150E-4D5B-B1A7-2156AA53CE95}"/>
              </a:ext>
            </a:extLst>
          </p:cNvPr>
          <p:cNvSpPr/>
          <p:nvPr/>
        </p:nvSpPr>
        <p:spPr>
          <a:xfrm>
            <a:off x="9485771" y="1687229"/>
            <a:ext cx="959980" cy="711811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2C573DC-BB4E-416B-AAB7-5B7F0FA71F22}"/>
              </a:ext>
            </a:extLst>
          </p:cNvPr>
          <p:cNvCxnSpPr/>
          <p:nvPr/>
        </p:nvCxnSpPr>
        <p:spPr>
          <a:xfrm>
            <a:off x="5387775" y="2463801"/>
            <a:ext cx="1630864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8B11D7E-17A3-432F-87DF-13FB5E5DC5EF}"/>
              </a:ext>
            </a:extLst>
          </p:cNvPr>
          <p:cNvCxnSpPr>
            <a:cxnSpLocks/>
          </p:cNvCxnSpPr>
          <p:nvPr/>
        </p:nvCxnSpPr>
        <p:spPr>
          <a:xfrm>
            <a:off x="5640187" y="2463801"/>
            <a:ext cx="1035552" cy="0"/>
          </a:xfrm>
          <a:prstGeom prst="line">
            <a:avLst/>
          </a:prstGeom>
          <a:ln w="19050">
            <a:solidFill>
              <a:srgbClr val="FF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C7F63725-FC6D-44F1-9C25-2316A0AC0E37}"/>
              </a:ext>
            </a:extLst>
          </p:cNvPr>
          <p:cNvCxnSpPr/>
          <p:nvPr/>
        </p:nvCxnSpPr>
        <p:spPr>
          <a:xfrm>
            <a:off x="6675317" y="2368551"/>
            <a:ext cx="0" cy="190500"/>
          </a:xfrm>
          <a:prstGeom prst="line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6D78E35-C596-4938-9CC8-5B9DDEB2C396}"/>
              </a:ext>
            </a:extLst>
          </p:cNvPr>
          <p:cNvCxnSpPr/>
          <p:nvPr/>
        </p:nvCxnSpPr>
        <p:spPr>
          <a:xfrm>
            <a:off x="5639765" y="2368552"/>
            <a:ext cx="0" cy="190500"/>
          </a:xfrm>
          <a:prstGeom prst="line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B4C94EA-C800-4F21-8561-8D85B75B16DC}"/>
              </a:ext>
            </a:extLst>
          </p:cNvPr>
          <p:cNvCxnSpPr>
            <a:cxnSpLocks/>
          </p:cNvCxnSpPr>
          <p:nvPr/>
        </p:nvCxnSpPr>
        <p:spPr>
          <a:xfrm>
            <a:off x="8077370" y="3206751"/>
            <a:ext cx="428078" cy="0"/>
          </a:xfrm>
          <a:prstGeom prst="line">
            <a:avLst/>
          </a:prstGeom>
          <a:ln w="19050">
            <a:solidFill>
              <a:srgbClr val="FF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F6BF4D1B-6FD1-49DF-8719-CB3E6B4893CB}"/>
              </a:ext>
            </a:extLst>
          </p:cNvPr>
          <p:cNvCxnSpPr/>
          <p:nvPr/>
        </p:nvCxnSpPr>
        <p:spPr>
          <a:xfrm>
            <a:off x="5399655" y="2984501"/>
            <a:ext cx="1630864" cy="0"/>
          </a:xfrm>
          <a:prstGeom prst="line">
            <a:avLst/>
          </a:prstGeom>
          <a:ln w="19050">
            <a:solidFill>
              <a:srgbClr val="00B05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6EF4697-D4F8-43F6-80D8-46B67EAF3112}"/>
              </a:ext>
            </a:extLst>
          </p:cNvPr>
          <p:cNvCxnSpPr>
            <a:cxnSpLocks/>
          </p:cNvCxnSpPr>
          <p:nvPr/>
        </p:nvCxnSpPr>
        <p:spPr>
          <a:xfrm>
            <a:off x="5652067" y="2984501"/>
            <a:ext cx="1035552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E2CFBAF0-DD1F-4E11-BFBB-9BB7573DFF67}"/>
              </a:ext>
            </a:extLst>
          </p:cNvPr>
          <p:cNvCxnSpPr/>
          <p:nvPr/>
        </p:nvCxnSpPr>
        <p:spPr>
          <a:xfrm>
            <a:off x="6687197" y="2889251"/>
            <a:ext cx="0" cy="190500"/>
          </a:xfrm>
          <a:prstGeom prst="line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432441EB-40E4-42AB-8E3D-05A423A8033F}"/>
              </a:ext>
            </a:extLst>
          </p:cNvPr>
          <p:cNvCxnSpPr/>
          <p:nvPr/>
        </p:nvCxnSpPr>
        <p:spPr>
          <a:xfrm>
            <a:off x="5651645" y="2889252"/>
            <a:ext cx="0" cy="190500"/>
          </a:xfrm>
          <a:prstGeom prst="line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5CF68E15-9D49-4897-A124-1D73314408BB}"/>
              </a:ext>
            </a:extLst>
          </p:cNvPr>
          <p:cNvSpPr txBox="1"/>
          <p:nvPr/>
        </p:nvSpPr>
        <p:spPr>
          <a:xfrm>
            <a:off x="7153643" y="2271848"/>
            <a:ext cx="793750" cy="2793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_A</a:t>
            </a: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24E7693-A4BF-4243-95A8-3CA71C4EC127}"/>
              </a:ext>
            </a:extLst>
          </p:cNvPr>
          <p:cNvSpPr txBox="1"/>
          <p:nvPr/>
        </p:nvSpPr>
        <p:spPr>
          <a:xfrm>
            <a:off x="7196857" y="2849922"/>
            <a:ext cx="793750" cy="2793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_B</a:t>
            </a: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280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955FA3-536A-47D3-8BE9-3DA039275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68C23394-B9DB-4CA1-A7D1-DD976E32C157}"/>
              </a:ext>
            </a:extLst>
          </p:cNvPr>
          <p:cNvSpPr/>
          <p:nvPr/>
        </p:nvSpPr>
        <p:spPr>
          <a:xfrm>
            <a:off x="3345183" y="3798469"/>
            <a:ext cx="348342" cy="324396"/>
          </a:xfrm>
          <a:prstGeom prst="triangl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FF12E5A3-3D91-4568-BC11-53E6BEFEEB5E}"/>
              </a:ext>
            </a:extLst>
          </p:cNvPr>
          <p:cNvSpPr/>
          <p:nvPr/>
        </p:nvSpPr>
        <p:spPr>
          <a:xfrm>
            <a:off x="5674725" y="3798469"/>
            <a:ext cx="348342" cy="324396"/>
          </a:xfrm>
          <a:prstGeom prst="triangl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DF314C-2534-4D3B-8DB9-48CFD2E25AAA}"/>
              </a:ext>
            </a:extLst>
          </p:cNvPr>
          <p:cNvCxnSpPr>
            <a:cxnSpLocks/>
            <a:endCxn id="4" idx="0"/>
          </p:cNvCxnSpPr>
          <p:nvPr/>
        </p:nvCxnSpPr>
        <p:spPr>
          <a:xfrm flipH="1">
            <a:off x="5848896" y="3365703"/>
            <a:ext cx="735874" cy="432766"/>
          </a:xfrm>
          <a:prstGeom prst="line">
            <a:avLst/>
          </a:prstGeom>
          <a:ln w="19050">
            <a:solidFill>
              <a:srgbClr val="8D1E77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35EA58C-8A55-4984-9CB4-11ADE4F37571}"/>
              </a:ext>
            </a:extLst>
          </p:cNvPr>
          <p:cNvCxnSpPr>
            <a:cxnSpLocks/>
          </p:cNvCxnSpPr>
          <p:nvPr/>
        </p:nvCxnSpPr>
        <p:spPr>
          <a:xfrm flipH="1" flipV="1">
            <a:off x="5730241" y="2911769"/>
            <a:ext cx="854529" cy="453934"/>
          </a:xfrm>
          <a:prstGeom prst="line">
            <a:avLst/>
          </a:prstGeom>
          <a:ln w="19050">
            <a:solidFill>
              <a:schemeClr val="tx2">
                <a:alpha val="2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A9FF82-7CD8-4E62-BB24-DFBA72787E3D}"/>
              </a:ext>
            </a:extLst>
          </p:cNvPr>
          <p:cNvCxnSpPr>
            <a:cxnSpLocks/>
            <a:endCxn id="3" idx="0"/>
          </p:cNvCxnSpPr>
          <p:nvPr/>
        </p:nvCxnSpPr>
        <p:spPr>
          <a:xfrm flipH="1">
            <a:off x="3519354" y="3330869"/>
            <a:ext cx="115390" cy="467600"/>
          </a:xfrm>
          <a:prstGeom prst="line">
            <a:avLst/>
          </a:prstGeom>
          <a:ln w="19050">
            <a:solidFill>
              <a:srgbClr val="36562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82CD027-16EA-410B-AB3A-F80C87ABC20F}"/>
              </a:ext>
            </a:extLst>
          </p:cNvPr>
          <p:cNvCxnSpPr>
            <a:cxnSpLocks/>
          </p:cNvCxnSpPr>
          <p:nvPr/>
        </p:nvCxnSpPr>
        <p:spPr>
          <a:xfrm flipV="1">
            <a:off x="3636374" y="2965109"/>
            <a:ext cx="548096" cy="365760"/>
          </a:xfrm>
          <a:prstGeom prst="line">
            <a:avLst/>
          </a:prstGeom>
          <a:ln w="19050">
            <a:solidFill>
              <a:schemeClr val="tx2">
                <a:alpha val="2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FD3BCC01-FCDC-40B1-989D-4B6BB22A422D}"/>
              </a:ext>
            </a:extLst>
          </p:cNvPr>
          <p:cNvSpPr/>
          <p:nvPr/>
        </p:nvSpPr>
        <p:spPr>
          <a:xfrm>
            <a:off x="5001313" y="2595080"/>
            <a:ext cx="148046" cy="139337"/>
          </a:xfrm>
          <a:prstGeom prst="ellipse">
            <a:avLst/>
          </a:prstGeom>
          <a:solidFill>
            <a:schemeClr val="accent5"/>
          </a:solidFill>
          <a:ln w="19050">
            <a:solidFill>
              <a:srgbClr val="36562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4B6F428-D1BE-461D-8101-84956238CBAE}"/>
              </a:ext>
            </a:extLst>
          </p:cNvPr>
          <p:cNvSpPr/>
          <p:nvPr/>
        </p:nvSpPr>
        <p:spPr>
          <a:xfrm>
            <a:off x="5510351" y="1792011"/>
            <a:ext cx="148046" cy="139337"/>
          </a:xfrm>
          <a:prstGeom prst="ellipse">
            <a:avLst/>
          </a:prstGeom>
          <a:solidFill>
            <a:schemeClr val="accent5"/>
          </a:solidFill>
          <a:ln w="19050">
            <a:solidFill>
              <a:srgbClr val="36562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F3A5976-20EA-4A2A-9B0B-DBA128BA872F}"/>
              </a:ext>
            </a:extLst>
          </p:cNvPr>
          <p:cNvSpPr/>
          <p:nvPr/>
        </p:nvSpPr>
        <p:spPr>
          <a:xfrm>
            <a:off x="4791893" y="2037090"/>
            <a:ext cx="148046" cy="139337"/>
          </a:xfrm>
          <a:prstGeom prst="ellipse">
            <a:avLst/>
          </a:prstGeom>
          <a:solidFill>
            <a:schemeClr val="accent5"/>
          </a:solidFill>
          <a:ln w="19050">
            <a:solidFill>
              <a:srgbClr val="8D1E7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CD408E27-BC50-4931-B7A7-DB178312D65D}"/>
              </a:ext>
            </a:extLst>
          </p:cNvPr>
          <p:cNvSpPr/>
          <p:nvPr/>
        </p:nvSpPr>
        <p:spPr>
          <a:xfrm>
            <a:off x="5510351" y="2223085"/>
            <a:ext cx="148046" cy="139337"/>
          </a:xfrm>
          <a:prstGeom prst="ellipse">
            <a:avLst/>
          </a:prstGeom>
          <a:solidFill>
            <a:schemeClr val="accent5"/>
          </a:solidFill>
          <a:ln w="19050">
            <a:solidFill>
              <a:srgbClr val="8D1E7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ACCA870-0686-4162-A31D-887C9FE6E1B3}"/>
              </a:ext>
            </a:extLst>
          </p:cNvPr>
          <p:cNvCxnSpPr/>
          <p:nvPr/>
        </p:nvCxnSpPr>
        <p:spPr>
          <a:xfrm flipV="1">
            <a:off x="384005" y="1569490"/>
            <a:ext cx="0" cy="46760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6C0A0EE-58D5-4AC6-8753-7FF8C6565DE9}"/>
              </a:ext>
            </a:extLst>
          </p:cNvPr>
          <p:cNvCxnSpPr>
            <a:cxnSpLocks/>
          </p:cNvCxnSpPr>
          <p:nvPr/>
        </p:nvCxnSpPr>
        <p:spPr>
          <a:xfrm>
            <a:off x="383905" y="2037090"/>
            <a:ext cx="468513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71B6450B-6BEF-47E3-AC42-68637310F27E}"/>
              </a:ext>
            </a:extLst>
          </p:cNvPr>
          <p:cNvSpPr/>
          <p:nvPr/>
        </p:nvSpPr>
        <p:spPr>
          <a:xfrm>
            <a:off x="3549041" y="3256564"/>
            <a:ext cx="189508" cy="187961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DF9C8EB-D56D-41D0-9EB9-EF0000B7F1BE}"/>
              </a:ext>
            </a:extLst>
          </p:cNvPr>
          <p:cNvSpPr txBox="1"/>
          <p:nvPr/>
        </p:nvSpPr>
        <p:spPr>
          <a:xfrm>
            <a:off x="473728" y="2084071"/>
            <a:ext cx="49876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/>
              <a:t>x</a:t>
            </a: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4CC79F3-5567-4153-886E-C447C7DF8E13}"/>
              </a:ext>
            </a:extLst>
          </p:cNvPr>
          <p:cNvSpPr txBox="1"/>
          <p:nvPr/>
        </p:nvSpPr>
        <p:spPr>
          <a:xfrm>
            <a:off x="134523" y="1269001"/>
            <a:ext cx="49876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/>
              <a:t>x</a:t>
            </a: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470E90C-A55F-449E-9634-57D96F752CD9}"/>
              </a:ext>
            </a:extLst>
          </p:cNvPr>
          <p:cNvCxnSpPr>
            <a:cxnSpLocks/>
          </p:cNvCxnSpPr>
          <p:nvPr/>
        </p:nvCxnSpPr>
        <p:spPr>
          <a:xfrm flipH="1">
            <a:off x="3497042" y="3611821"/>
            <a:ext cx="455896" cy="181819"/>
          </a:xfrm>
          <a:prstGeom prst="line">
            <a:avLst/>
          </a:prstGeom>
          <a:ln w="19050">
            <a:solidFill>
              <a:srgbClr val="36562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Arc 45">
            <a:extLst>
              <a:ext uri="{FF2B5EF4-FFF2-40B4-BE49-F238E27FC236}">
                <a16:creationId xmlns:a16="http://schemas.microsoft.com/office/drawing/2014/main" id="{60486D7B-2574-43BA-987A-8490366F7A93}"/>
              </a:ext>
            </a:extLst>
          </p:cNvPr>
          <p:cNvSpPr/>
          <p:nvPr/>
        </p:nvSpPr>
        <p:spPr>
          <a:xfrm>
            <a:off x="3558815" y="3348879"/>
            <a:ext cx="348342" cy="432766"/>
          </a:xfrm>
          <a:prstGeom prst="arc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3A3A143-0637-4B56-ACC3-EA1B9E970751}"/>
              </a:ext>
            </a:extLst>
          </p:cNvPr>
          <p:cNvSpPr txBox="1"/>
          <p:nvPr/>
        </p:nvSpPr>
        <p:spPr>
          <a:xfrm>
            <a:off x="2931738" y="3832106"/>
            <a:ext cx="32253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</a:t>
            </a: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B333B11-E450-454C-8873-86C54071AAC2}"/>
              </a:ext>
            </a:extLst>
          </p:cNvPr>
          <p:cNvSpPr txBox="1"/>
          <p:nvPr/>
        </p:nvSpPr>
        <p:spPr>
          <a:xfrm>
            <a:off x="6345163" y="3805026"/>
            <a:ext cx="32253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/>
              <a:t>B</a:t>
            </a: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0D8EFF09-5E43-4410-8018-6646241970BE}"/>
              </a:ext>
            </a:extLst>
          </p:cNvPr>
          <p:cNvCxnSpPr>
            <a:cxnSpLocks/>
          </p:cNvCxnSpPr>
          <p:nvPr/>
        </p:nvCxnSpPr>
        <p:spPr>
          <a:xfrm flipH="1">
            <a:off x="3706463" y="3269000"/>
            <a:ext cx="565201" cy="73864"/>
          </a:xfrm>
          <a:prstGeom prst="line">
            <a:avLst/>
          </a:prstGeom>
          <a:ln w="19050">
            <a:solidFill>
              <a:srgbClr val="36562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Arc 52">
            <a:extLst>
              <a:ext uri="{FF2B5EF4-FFF2-40B4-BE49-F238E27FC236}">
                <a16:creationId xmlns:a16="http://schemas.microsoft.com/office/drawing/2014/main" id="{CCD12E3A-D3FA-4AFE-AE3B-113E827BB67E}"/>
              </a:ext>
            </a:extLst>
          </p:cNvPr>
          <p:cNvSpPr/>
          <p:nvPr/>
        </p:nvSpPr>
        <p:spPr>
          <a:xfrm>
            <a:off x="3952938" y="3040181"/>
            <a:ext cx="348342" cy="432766"/>
          </a:xfrm>
          <a:prstGeom prst="arc">
            <a:avLst/>
          </a:prstGeom>
          <a:ln w="190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A54982B-F16F-4CB3-BC66-691244E43443}"/>
              </a:ext>
            </a:extLst>
          </p:cNvPr>
          <p:cNvSpPr/>
          <p:nvPr/>
        </p:nvSpPr>
        <p:spPr>
          <a:xfrm>
            <a:off x="1370578" y="1397726"/>
            <a:ext cx="6854734" cy="3055533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C8F14E5D-29D5-44EF-8CCF-CD5B23F13552}"/>
                  </a:ext>
                </a:extLst>
              </p:cNvPr>
              <p:cNvSpPr txBox="1"/>
              <p:nvPr/>
            </p:nvSpPr>
            <p:spPr>
              <a:xfrm>
                <a:off x="1914727" y="4809402"/>
                <a:ext cx="2308553" cy="35394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indent="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tx2"/>
                  </a:buClr>
                  <a:buFontTx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[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0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𝑦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0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𝑙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𝜽</m:t>
                          </m:r>
                        </m:e>
                        <m:sub>
                          <m: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𝑨</m:t>
                          </m:r>
                          <m: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𝟏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]</m:t>
                      </m:r>
                    </m:oMath>
                  </m:oMathPara>
                </a14:m>
                <a:endParaRPr lang="de-DE" sz="1800" kern="1200" dirty="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C8F14E5D-29D5-44EF-8CCF-CD5B23F135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4727" y="4809402"/>
                <a:ext cx="2308553" cy="353943"/>
              </a:xfrm>
              <a:prstGeom prst="rect">
                <a:avLst/>
              </a:prstGeom>
              <a:blipFill>
                <a:blip r:embed="rId2"/>
                <a:stretch>
                  <a:fillRect l="-1319" t="-1724" r="-3958" b="-862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1C15DFA2-0F11-4ED8-A768-4D7EE1F43982}"/>
                  </a:ext>
                </a:extLst>
              </p:cNvPr>
              <p:cNvSpPr txBox="1"/>
              <p:nvPr/>
            </p:nvSpPr>
            <p:spPr>
              <a:xfrm>
                <a:off x="1613991" y="3805026"/>
                <a:ext cx="1634836" cy="35394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indent="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tx2"/>
                  </a:buClr>
                  <a:buFontTx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[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0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𝑦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0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]</m:t>
                      </m:r>
                    </m:oMath>
                  </m:oMathPara>
                </a14:m>
                <a:endParaRPr lang="de-DE" sz="1800" kern="1200" dirty="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1C15DFA2-0F11-4ED8-A768-4D7EE1F439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3991" y="3805026"/>
                <a:ext cx="1634836" cy="353943"/>
              </a:xfrm>
              <a:prstGeom prst="rect">
                <a:avLst/>
              </a:prstGeom>
              <a:blipFill>
                <a:blip r:embed="rId3"/>
                <a:stretch>
                  <a:fillRect b="-1034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8" name="Arc 57">
            <a:extLst>
              <a:ext uri="{FF2B5EF4-FFF2-40B4-BE49-F238E27FC236}">
                <a16:creationId xmlns:a16="http://schemas.microsoft.com/office/drawing/2014/main" id="{DA1666A6-A5DB-436F-9D16-4BDF3854AC0C}"/>
              </a:ext>
            </a:extLst>
          </p:cNvPr>
          <p:cNvSpPr/>
          <p:nvPr/>
        </p:nvSpPr>
        <p:spPr>
          <a:xfrm>
            <a:off x="408877" y="1844198"/>
            <a:ext cx="348342" cy="432766"/>
          </a:xfrm>
          <a:prstGeom prst="arc">
            <a:avLst>
              <a:gd name="adj1" fmla="val 18159874"/>
              <a:gd name="adj2" fmla="val 0"/>
            </a:avLst>
          </a:prstGeom>
          <a:ln w="19050">
            <a:solidFill>
              <a:schemeClr val="tx2"/>
            </a:solidFill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1B9E3FBB-7853-4CDE-AFE6-E9DF8209B753}"/>
                  </a:ext>
                </a:extLst>
              </p:cNvPr>
              <p:cNvSpPr txBox="1"/>
              <p:nvPr/>
            </p:nvSpPr>
            <p:spPr>
              <a:xfrm>
                <a:off x="6098779" y="4826437"/>
                <a:ext cx="2308553" cy="35394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indent="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tx2"/>
                  </a:buClr>
                  <a:buFontTx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[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𝐵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0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𝑦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𝐵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0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𝑙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𝐵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𝜃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𝐵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]</m:t>
                      </m:r>
                    </m:oMath>
                  </m:oMathPara>
                </a14:m>
                <a:endParaRPr lang="de-DE" sz="1800" kern="1200" dirty="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1B9E3FBB-7853-4CDE-AFE6-E9DF8209B7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8779" y="4826437"/>
                <a:ext cx="2308553" cy="353943"/>
              </a:xfrm>
              <a:prstGeom prst="rect">
                <a:avLst/>
              </a:prstGeom>
              <a:blipFill>
                <a:blip r:embed="rId4"/>
                <a:stretch>
                  <a:fillRect l="-1847" t="-1724" r="-4485" b="-862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0631812-9A73-4E61-AFBB-953BE6D95523}"/>
              </a:ext>
            </a:extLst>
          </p:cNvPr>
          <p:cNvCxnSpPr>
            <a:cxnSpLocks/>
          </p:cNvCxnSpPr>
          <p:nvPr/>
        </p:nvCxnSpPr>
        <p:spPr>
          <a:xfrm flipV="1">
            <a:off x="4508028" y="4991949"/>
            <a:ext cx="986571" cy="2491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4A6369A9-464D-459A-89B2-60B7CA0219C5}"/>
              </a:ext>
            </a:extLst>
          </p:cNvPr>
          <p:cNvCxnSpPr>
            <a:cxnSpLocks/>
          </p:cNvCxnSpPr>
          <p:nvPr/>
        </p:nvCxnSpPr>
        <p:spPr>
          <a:xfrm flipH="1">
            <a:off x="4524222" y="5145367"/>
            <a:ext cx="954182" cy="44226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D8F28FC2-C481-45F8-A66C-7D8B73D7E79C}"/>
                  </a:ext>
                </a:extLst>
              </p:cNvPr>
              <p:cNvSpPr txBox="1"/>
              <p:nvPr/>
            </p:nvSpPr>
            <p:spPr>
              <a:xfrm>
                <a:off x="972492" y="5535405"/>
                <a:ext cx="3509888" cy="35394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  <a:buClr>
                    <a:schemeClr val="tx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[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0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𝑦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0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𝑙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𝑙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1" i="1">
                              <a:latin typeface="Cambria Math" panose="02040503050406030204" pitchFamily="18" charset="0"/>
                            </a:rPr>
                            <m:t>𝜽</m:t>
                          </m:r>
                        </m:e>
                        <m:sub>
                          <m:r>
                            <a:rPr lang="de-DE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𝜽</m:t>
                          </m:r>
                        </m:e>
                        <m:sub>
                          <m: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𝑨</m:t>
                          </m:r>
                          <m: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𝟐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]</m:t>
                      </m:r>
                    </m:oMath>
                  </m:oMathPara>
                </a14:m>
                <a:endParaRPr lang="de-DE" sz="1800" kern="1200" dirty="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D8F28FC2-C481-45F8-A66C-7D8B73D7E7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2492" y="5535405"/>
                <a:ext cx="3509888" cy="353943"/>
              </a:xfrm>
              <a:prstGeom prst="rect">
                <a:avLst/>
              </a:prstGeom>
              <a:blipFill>
                <a:blip r:embed="rId5"/>
                <a:stretch>
                  <a:fillRect b="-1034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D9AA74F4-F901-46EA-B40D-C95FDF9CEEE2}"/>
                  </a:ext>
                </a:extLst>
              </p:cNvPr>
              <p:cNvSpPr txBox="1"/>
              <p:nvPr/>
            </p:nvSpPr>
            <p:spPr>
              <a:xfrm>
                <a:off x="5442918" y="5533130"/>
                <a:ext cx="3509888" cy="35394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  <a:buClr>
                    <a:schemeClr val="tx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[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0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𝑦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0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𝑙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𝑙</m:t>
                          </m:r>
                        </m:e>
                        <m:sub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𝐴</m:t>
                          </m:r>
                          <m:r>
                            <a:rPr lang="de-DE" sz="1800" b="0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de-DE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1" i="1">
                              <a:latin typeface="Cambria Math" panose="02040503050406030204" pitchFamily="18" charset="0"/>
                            </a:rPr>
                            <m:t>𝜽</m:t>
                          </m:r>
                        </m:e>
                        <m:sub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𝑩</m:t>
                          </m:r>
                          <m:r>
                            <a:rPr lang="de-DE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𝜽</m:t>
                          </m:r>
                        </m:e>
                        <m:sub>
                          <m: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𝑩</m:t>
                          </m:r>
                          <m:r>
                            <a:rPr lang="de-DE" sz="1800" b="1" i="1" kern="120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𝟐</m:t>
                          </m:r>
                        </m:sub>
                      </m:sSub>
                      <m:r>
                        <a:rPr lang="de-DE" sz="18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]</m:t>
                      </m:r>
                    </m:oMath>
                  </m:oMathPara>
                </a14:m>
                <a:endParaRPr lang="de-DE" sz="1800" kern="1200" dirty="0" err="1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D9AA74F4-F901-46EA-B40D-C95FDF9CEE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42918" y="5533130"/>
                <a:ext cx="3509888" cy="353943"/>
              </a:xfrm>
              <a:prstGeom prst="rect">
                <a:avLst/>
              </a:prstGeom>
              <a:blipFill>
                <a:blip r:embed="rId6"/>
                <a:stretch>
                  <a:fillRect t="-1724" b="-862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71CC822-783C-4F3F-90A1-C691E452164D}"/>
              </a:ext>
            </a:extLst>
          </p:cNvPr>
          <p:cNvCxnSpPr>
            <a:cxnSpLocks/>
          </p:cNvCxnSpPr>
          <p:nvPr/>
        </p:nvCxnSpPr>
        <p:spPr>
          <a:xfrm flipV="1">
            <a:off x="4495156" y="5709226"/>
            <a:ext cx="812468" cy="249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2">
            <a:extLst>
              <a:ext uri="{FF2B5EF4-FFF2-40B4-BE49-F238E27FC236}">
                <a16:creationId xmlns:a16="http://schemas.microsoft.com/office/drawing/2014/main" id="{D1C32DAA-2DE6-4BD5-8452-882E512FCE03}"/>
              </a:ext>
            </a:extLst>
          </p:cNvPr>
          <p:cNvSpPr/>
          <p:nvPr/>
        </p:nvSpPr>
        <p:spPr>
          <a:xfrm>
            <a:off x="9373144" y="2651515"/>
            <a:ext cx="600891" cy="531223"/>
          </a:xfrm>
          <a:prstGeom prst="ellips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sz="1200">
                <a:solidFill>
                  <a:schemeClr val="tx1"/>
                </a:solidFill>
              </a:rPr>
              <a:t>X_1 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8610D0AC-4B24-4C37-ABD6-F46811FBE1EF}"/>
              </a:ext>
            </a:extLst>
          </p:cNvPr>
          <p:cNvSpPr/>
          <p:nvPr/>
        </p:nvSpPr>
        <p:spPr>
          <a:xfrm>
            <a:off x="10520977" y="2646157"/>
            <a:ext cx="600891" cy="531223"/>
          </a:xfrm>
          <a:prstGeom prst="ellips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sz="1200">
                <a:solidFill>
                  <a:schemeClr val="tx1"/>
                </a:solidFill>
              </a:rPr>
              <a:t>X_2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7AEF85BF-1610-4709-8C01-A0B0EFB260BC}"/>
              </a:ext>
            </a:extLst>
          </p:cNvPr>
          <p:cNvSpPr/>
          <p:nvPr/>
        </p:nvSpPr>
        <p:spPr>
          <a:xfrm>
            <a:off x="9373144" y="1662179"/>
            <a:ext cx="600891" cy="531223"/>
          </a:xfrm>
          <a:prstGeom prst="ellips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sz="1200">
                <a:solidFill>
                  <a:schemeClr val="tx1"/>
                </a:solidFill>
              </a:rPr>
              <a:t>y_1 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DA05049B-97A6-47F1-B78C-DC5F3B2F83F3}"/>
              </a:ext>
            </a:extLst>
          </p:cNvPr>
          <p:cNvSpPr/>
          <p:nvPr/>
        </p:nvSpPr>
        <p:spPr>
          <a:xfrm>
            <a:off x="10520977" y="1656821"/>
            <a:ext cx="600891" cy="531223"/>
          </a:xfrm>
          <a:prstGeom prst="ellipse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de-DE" sz="1200">
                <a:solidFill>
                  <a:schemeClr val="tx1"/>
                </a:solidFill>
              </a:rPr>
              <a:t>y_2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4CAC4627-C34C-405F-8131-211CA965573E}"/>
              </a:ext>
            </a:extLst>
          </p:cNvPr>
          <p:cNvCxnSpPr>
            <a:cxnSpLocks/>
            <a:stCxn id="73" idx="0"/>
          </p:cNvCxnSpPr>
          <p:nvPr/>
        </p:nvCxnSpPr>
        <p:spPr>
          <a:xfrm flipV="1">
            <a:off x="9673590" y="2188045"/>
            <a:ext cx="0" cy="46347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60CF4A2C-023A-47C2-88D9-B8CAE7239C57}"/>
              </a:ext>
            </a:extLst>
          </p:cNvPr>
          <p:cNvCxnSpPr>
            <a:cxnSpLocks/>
            <a:stCxn id="73" idx="0"/>
            <a:endCxn id="76" idx="4"/>
          </p:cNvCxnSpPr>
          <p:nvPr/>
        </p:nvCxnSpPr>
        <p:spPr>
          <a:xfrm flipV="1">
            <a:off x="9673590" y="2188044"/>
            <a:ext cx="1147833" cy="463471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8DC78D3F-000B-49DE-99D5-1AF914FA1F3B}"/>
              </a:ext>
            </a:extLst>
          </p:cNvPr>
          <p:cNvCxnSpPr>
            <a:cxnSpLocks/>
            <a:stCxn id="74" idx="0"/>
            <a:endCxn id="75" idx="4"/>
          </p:cNvCxnSpPr>
          <p:nvPr/>
        </p:nvCxnSpPr>
        <p:spPr>
          <a:xfrm flipH="1" flipV="1">
            <a:off x="9673590" y="2193402"/>
            <a:ext cx="1147833" cy="45275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3B2CA36E-E710-41DF-8D09-A984C883202E}"/>
              </a:ext>
            </a:extLst>
          </p:cNvPr>
          <p:cNvCxnSpPr>
            <a:cxnSpLocks/>
            <a:stCxn id="74" idx="0"/>
            <a:endCxn id="76" idx="4"/>
          </p:cNvCxnSpPr>
          <p:nvPr/>
        </p:nvCxnSpPr>
        <p:spPr>
          <a:xfrm flipV="1">
            <a:off x="10821423" y="2188044"/>
            <a:ext cx="0" cy="458113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5D242096-C6F9-402D-8C87-5A31D5EFAC6B}"/>
              </a:ext>
            </a:extLst>
          </p:cNvPr>
          <p:cNvSpPr/>
          <p:nvPr/>
        </p:nvSpPr>
        <p:spPr>
          <a:xfrm>
            <a:off x="9088514" y="1225827"/>
            <a:ext cx="2455477" cy="2346777"/>
          </a:xfrm>
          <a:custGeom>
            <a:avLst/>
            <a:gdLst>
              <a:gd name="connsiteX0" fmla="*/ 1257269 w 2455477"/>
              <a:gd name="connsiteY0" fmla="*/ 333007 h 2346777"/>
              <a:gd name="connsiteX1" fmla="*/ 778297 w 2455477"/>
              <a:gd name="connsiteY1" fmla="*/ 1282242 h 2346777"/>
              <a:gd name="connsiteX2" fmla="*/ 116446 w 2455477"/>
              <a:gd name="connsiteY2" fmla="*/ 1351910 h 2346777"/>
              <a:gd name="connsiteX3" fmla="*/ 229657 w 2455477"/>
              <a:gd name="connsiteY3" fmla="*/ 2266310 h 2346777"/>
              <a:gd name="connsiteX4" fmla="*/ 2328423 w 2455477"/>
              <a:gd name="connsiteY4" fmla="*/ 2057304 h 2346777"/>
              <a:gd name="connsiteX5" fmla="*/ 2119417 w 2455477"/>
              <a:gd name="connsiteY5" fmla="*/ 115293 h 2346777"/>
              <a:gd name="connsiteX6" fmla="*/ 1257269 w 2455477"/>
              <a:gd name="connsiteY6" fmla="*/ 333007 h 2346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55477" h="2346777">
                <a:moveTo>
                  <a:pt x="1257269" y="333007"/>
                </a:moveTo>
                <a:cubicBezTo>
                  <a:pt x="1033749" y="527498"/>
                  <a:pt x="968434" y="1112425"/>
                  <a:pt x="778297" y="1282242"/>
                </a:cubicBezTo>
                <a:cubicBezTo>
                  <a:pt x="588160" y="1452059"/>
                  <a:pt x="207886" y="1187899"/>
                  <a:pt x="116446" y="1351910"/>
                </a:cubicBezTo>
                <a:cubicBezTo>
                  <a:pt x="25006" y="1515921"/>
                  <a:pt x="-139006" y="2148744"/>
                  <a:pt x="229657" y="2266310"/>
                </a:cubicBezTo>
                <a:cubicBezTo>
                  <a:pt x="598320" y="2383876"/>
                  <a:pt x="2013463" y="2415807"/>
                  <a:pt x="2328423" y="2057304"/>
                </a:cubicBezTo>
                <a:cubicBezTo>
                  <a:pt x="2643383" y="1698801"/>
                  <a:pt x="2295040" y="399773"/>
                  <a:pt x="2119417" y="115293"/>
                </a:cubicBezTo>
                <a:cubicBezTo>
                  <a:pt x="1943794" y="-169187"/>
                  <a:pt x="1480789" y="138516"/>
                  <a:pt x="1257269" y="333007"/>
                </a:cubicBezTo>
                <a:close/>
              </a:path>
            </a:pathLst>
          </a:custGeom>
          <a:solidFill>
            <a:schemeClr val="bg2">
              <a:alpha val="2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8349F809-03CA-4FA1-A5D3-4D72435C19CC}"/>
              </a:ext>
            </a:extLst>
          </p:cNvPr>
          <p:cNvSpPr/>
          <p:nvPr/>
        </p:nvSpPr>
        <p:spPr>
          <a:xfrm flipH="1">
            <a:off x="9076447" y="1217892"/>
            <a:ext cx="2153556" cy="2346777"/>
          </a:xfrm>
          <a:custGeom>
            <a:avLst/>
            <a:gdLst>
              <a:gd name="connsiteX0" fmla="*/ 1257269 w 2455477"/>
              <a:gd name="connsiteY0" fmla="*/ 333007 h 2346777"/>
              <a:gd name="connsiteX1" fmla="*/ 778297 w 2455477"/>
              <a:gd name="connsiteY1" fmla="*/ 1282242 h 2346777"/>
              <a:gd name="connsiteX2" fmla="*/ 116446 w 2455477"/>
              <a:gd name="connsiteY2" fmla="*/ 1351910 h 2346777"/>
              <a:gd name="connsiteX3" fmla="*/ 229657 w 2455477"/>
              <a:gd name="connsiteY3" fmla="*/ 2266310 h 2346777"/>
              <a:gd name="connsiteX4" fmla="*/ 2328423 w 2455477"/>
              <a:gd name="connsiteY4" fmla="*/ 2057304 h 2346777"/>
              <a:gd name="connsiteX5" fmla="*/ 2119417 w 2455477"/>
              <a:gd name="connsiteY5" fmla="*/ 115293 h 2346777"/>
              <a:gd name="connsiteX6" fmla="*/ 1257269 w 2455477"/>
              <a:gd name="connsiteY6" fmla="*/ 333007 h 2346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55477" h="2346777">
                <a:moveTo>
                  <a:pt x="1257269" y="333007"/>
                </a:moveTo>
                <a:cubicBezTo>
                  <a:pt x="1033749" y="527498"/>
                  <a:pt x="968434" y="1112425"/>
                  <a:pt x="778297" y="1282242"/>
                </a:cubicBezTo>
                <a:cubicBezTo>
                  <a:pt x="588160" y="1452059"/>
                  <a:pt x="207886" y="1187899"/>
                  <a:pt x="116446" y="1351910"/>
                </a:cubicBezTo>
                <a:cubicBezTo>
                  <a:pt x="25006" y="1515921"/>
                  <a:pt x="-139006" y="2148744"/>
                  <a:pt x="229657" y="2266310"/>
                </a:cubicBezTo>
                <a:cubicBezTo>
                  <a:pt x="598320" y="2383876"/>
                  <a:pt x="2013463" y="2415807"/>
                  <a:pt x="2328423" y="2057304"/>
                </a:cubicBezTo>
                <a:cubicBezTo>
                  <a:pt x="2643383" y="1698801"/>
                  <a:pt x="2295040" y="399773"/>
                  <a:pt x="2119417" y="115293"/>
                </a:cubicBezTo>
                <a:cubicBezTo>
                  <a:pt x="1943794" y="-169187"/>
                  <a:pt x="1480789" y="138516"/>
                  <a:pt x="1257269" y="333007"/>
                </a:cubicBezTo>
                <a:close/>
              </a:path>
            </a:pathLst>
          </a:custGeom>
          <a:solidFill>
            <a:srgbClr val="FCE37A">
              <a:alpha val="20000"/>
            </a:srgb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320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9F40AA-13A4-4EE6-AD40-6BFAE3D560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815" y="358507"/>
            <a:ext cx="4779739" cy="2367809"/>
          </a:xfrm>
          <a:prstGeom prst="rect">
            <a:avLst/>
          </a:prstGeom>
        </p:spPr>
      </p:pic>
      <p:pic>
        <p:nvPicPr>
          <p:cNvPr id="4" name="Grafik 6">
            <a:extLst>
              <a:ext uri="{FF2B5EF4-FFF2-40B4-BE49-F238E27FC236}">
                <a16:creationId xmlns:a16="http://schemas.microsoft.com/office/drawing/2014/main" id="{99BBEA74-A300-40A3-8D00-7AE346231E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9943" y="615305"/>
            <a:ext cx="6008785" cy="422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7099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5" id="{A9C9B87E-D3A0-4C99-A8D6-479744F9C7C4}" vid="{71A2CB11-22F4-4EFC-9594-7E1795EC30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9</Words>
  <Application>Microsoft Office PowerPoint</Application>
  <PresentationFormat>Widescreen</PresentationFormat>
  <Paragraphs>3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BMW Group Condensed</vt:lpstr>
      <vt:lpstr>BMWGroupTN Condensed</vt:lpstr>
      <vt:lpstr>Cambria Math</vt:lpstr>
      <vt:lpstr>Wingdings</vt:lpstr>
      <vt:lpstr>BMW Group 2021</vt:lpstr>
      <vt:lpstr>think-cell Folie</vt:lpstr>
      <vt:lpstr>PHD Notes </vt:lpstr>
      <vt:lpstr>…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oehr Ferdinand, EG-2-CE</dc:creator>
  <cp:lastModifiedBy>Woehr Ferdinand, EG-2-CE</cp:lastModifiedBy>
  <cp:revision>56</cp:revision>
  <dcterms:created xsi:type="dcterms:W3CDTF">2022-02-04T11:11:19Z</dcterms:created>
  <dcterms:modified xsi:type="dcterms:W3CDTF">2022-02-17T14:42:15Z</dcterms:modified>
</cp:coreProperties>
</file>